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67" r:id="rId2"/>
  </p:sldMasterIdLst>
  <p:notesMasterIdLst>
    <p:notesMasterId r:id="rId9"/>
  </p:notesMasterIdLst>
  <p:sldIdLst>
    <p:sldId id="345" r:id="rId3"/>
    <p:sldId id="346" r:id="rId4"/>
    <p:sldId id="347" r:id="rId5"/>
    <p:sldId id="348" r:id="rId6"/>
    <p:sldId id="350" r:id="rId7"/>
    <p:sldId id="349" r:id="rId8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7" autoAdjust="0"/>
    <p:restoredTop sz="94660"/>
  </p:normalViewPr>
  <p:slideViewPr>
    <p:cSldViewPr snapToObjects="1" showGuides="1">
      <p:cViewPr varScale="1">
        <p:scale>
          <a:sx n="109" d="100"/>
          <a:sy n="109" d="100"/>
        </p:scale>
        <p:origin x="408" y="86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2/1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B66D172-DAE4-451C-8F4C-A115EF57459C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D3BA85E-6011-48CA-98DC-442491F28817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0336666-6265-4A53-B733-62C4064CE886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8ECE635-0293-4BDA-880A-6D65B4D938C8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1AAD77-5B20-41F9-A401-7EF1C7A19546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22F0F82-4027-45C9-A635-7375600FFA6D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F3888FC-8A91-4229-84D4-DA4547A25592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49EC50-5301-4F25-92A9-7DC271CFCAD9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/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A740C6-F4E5-479C-8760-74ACC9EEEA08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995717-E372-4EC6-B68D-1C058AA32A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C136D3E-45FC-4170-AABC-CE5EA49165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0BEE04-1ABA-4949-BD62-3FAC4B477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B6E83-1889-4801-BF3A-FEE07A6863E6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C6CF73-8427-4C81-84E8-D84486253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6AAE21-4949-4E7B-AA0D-DC612FE79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582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68565B-2D20-4097-A014-D01399D5FD79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6350487" y="4665238"/>
            <a:ext cx="1965930" cy="2827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anina Hosch, Patrick Müllner, Tufan Tavasoli, Dimitri Khodak © Continental AG</a:t>
            </a:r>
            <a:endParaRPr lang="en-US" noProof="0" dirty="0"/>
          </a:p>
        </p:txBody>
      </p:sp>
    </p:spTree>
    <p:extLst/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847B2-6728-4B8A-AF93-C50BE0A2B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143F99-75E9-4754-8E0E-07D6E054EF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2F05F8-FD21-4AE3-B493-06710B9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8E73C-8D17-40EB-AB05-24847D38E7A6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C1DDE7-C8F6-45D1-8970-173AB0D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93EE03-FD7A-4282-8767-E8FBA61A7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06656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428B0-BAEE-4577-84B1-ED20700DA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D2CA2F-24BC-4291-80CD-039D680928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68A642-C161-45D1-8B41-69C76ADE5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FA48D-265B-4DFB-A434-3B3262628CE8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D7F8F9-5BE4-481F-8443-231573A0B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1658EF-D9B8-40AA-B7EC-BE1C0733A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823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70BF72-C606-4EE3-8FDB-994EB08E2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FC83288-FF2A-4837-8593-C3E4E8009E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60A523E-7279-4A49-9CE8-84EC713CA3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4620D4-2006-46C0-8505-84B45BA73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C5CC6-AE02-4E39-96E6-96E6B9599D72}" type="datetime1">
              <a:rPr lang="de-DE" smtClean="0"/>
              <a:t>18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54959E9-68DB-4AEF-9AE3-695065034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F934A6A-B9E0-4E14-9422-6782C1C05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14869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E536BE-2842-4DCC-9423-03B1003FE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4CA486-A86E-4065-87AF-D3BF56F05F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D19A4BE-0387-4AF5-87C3-62D53BD0EA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CC76CB4-54CB-4E82-B599-DACC8322CB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9001A80-37F9-42E0-9F90-2E403C16E0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A4FDAB1-CDC6-4D61-AE84-493BFAA7A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ACF21-35D4-46E7-9DDB-7E1A947F5B91}" type="datetime1">
              <a:rPr lang="de-DE" smtClean="0"/>
              <a:t>18.12.20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2EC193E-861B-4234-A178-0847DD504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EF9C1A-2BAF-49DB-8D2C-CEAB1DAF6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7323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195383-F5B4-4A76-A5AA-C895A8BBC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106108C-321F-48E2-9371-82755C001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A5C05-92A5-4290-9B06-AB3D745B0896}" type="datetime1">
              <a:rPr lang="de-DE" smtClean="0"/>
              <a:t>18.12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BAC78B-3A3E-4E82-899C-6BA1FD0B9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0971D7-F253-4DF3-BB86-BCCAE9AEC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8193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FBBB5FA-1D2E-41C8-BC2B-7FB9B0EE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5D3AC-F1B3-44AE-A569-95C78441F086}" type="datetime1">
              <a:rPr lang="de-DE" smtClean="0"/>
              <a:t>18.12.20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14C95F-5026-45A0-99EA-15677F613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86419A-100E-442D-9425-20A2628B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53721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86840E-FF29-4D88-8541-AF19489AA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84E51A-1717-4481-B0E5-A47445637D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C3C5C7-41A7-4605-9BDA-0F963A8E5F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7430B6-45CC-40F7-9152-A5A580342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C4C52-6EBC-4F3D-A386-67D89761BBBC}" type="datetime1">
              <a:rPr lang="de-DE" smtClean="0"/>
              <a:t>18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88A5812-AF0D-4F2A-B94A-36873ADCE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DCC8A8-A65A-4D03-97C8-C2021A25E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514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03108C-9B19-42D7-B7E3-3E4B677AB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9CFF89B-DCCD-4111-98A2-DA8F4AA30A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454FF0-47BC-4AA7-8FA6-4EF5FCEDF9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92D1F9-9D5D-4072-ACD0-05B287E34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B7838-20B9-4704-8841-6E9820C60FC6}" type="datetime1">
              <a:rPr lang="de-DE" smtClean="0"/>
              <a:t>18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BC27E9-DC1C-43E7-A937-7F9A93E862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960668-7588-4509-8EA5-CA45266C4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4549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2F4F62-E089-44AC-9C3F-8E818D7F1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508B2DA-A463-443C-82E4-D9F4497596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60AE1D-59DA-49E9-9567-F8112512A6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B31C5-497C-4EB8-B1BC-0916CC97DA4B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C176313-ED63-436A-86F1-848682B4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30B15E-23D9-4FD5-967B-04115F47A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9010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8C58438-2FDF-4DE4-918D-1B42A5B1B7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F6D8EA9-D527-460B-89FC-51F0E566A1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37DFF3-113B-4783-A156-C53AC930F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0D229-4628-4841-BB1D-C0AB31D3F17B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3561BE-4EEB-4331-9642-C1201C736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08C79A-645F-4354-BF68-EC537AC8D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6793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/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A74844-D89F-4880-8978-1244D4A1ECFD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/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3FC205-1C39-482C-8006-8D60FC808D9A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D9421C-4D3B-4398-A99D-0A79AF8FE3B1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6DFB4B-08F0-49AD-88B4-290E4720B1FE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EB6990-712E-4506-B81A-A4118BF81C3A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</p:spTree>
    <p:extLst/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BA0C88B9-B02A-4C54-B6E0-D66CB8C651C5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Janina Hosch, Patrick Müllner, Tufan Tavasoli, Dimitri Khodak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CC – Division 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F0B8258-2436-49B1-A66B-02B3E6282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90E06E-CF2D-4FB2-B1C0-2E27E99504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2866837-3D05-44FA-928C-2DC14008C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64362C-1CD9-42B7-938A-81EC80F12856}" type="datetime1">
              <a:rPr lang="de-DE" smtClean="0"/>
              <a:t>18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1FB6BD-A868-4C8B-8426-31CCF4E1BA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Janina Hosch, Patrick Müllner, Tufan Tavasoli, Dimitri Khodak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10E15F-E835-40EA-962A-94FBA7F1C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940FCF-E30F-4C86-A4DF-9299903B69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56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Softwareprojekt Graphenanaly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Janina Hosch, Patrick Müllner, Tufan Tavasoli, </a:t>
            </a:r>
          </a:p>
          <a:p>
            <a:r>
              <a:rPr lang="de-DE"/>
              <a:t>Dimtri Khodak</a:t>
            </a:r>
            <a:endParaRPr lang="de-DE" dirty="0"/>
          </a:p>
        </p:txBody>
      </p:sp>
      <p:pic>
        <p:nvPicPr>
          <p:cNvPr id="1026" name="Picture 2" descr="Bildergebnis für high technology">
            <a:extLst>
              <a:ext uri="{FF2B5EF4-FFF2-40B4-BE49-F238E27FC236}">
                <a16:creationId xmlns:a16="http://schemas.microsoft.com/office/drawing/2014/main" id="{6AC51597-E5C3-4535-96A7-6BC32432EE93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190580"/>
            <a:ext cx="8784000" cy="2748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42351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Projektorganisation</a:t>
            </a:r>
          </a:p>
          <a:p>
            <a:r>
              <a:rPr lang="de-DE"/>
              <a:t>OOA/OOD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Übersich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A944-64A0-49E7-B0C9-2F4B496D0D17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anina Hosch, Patrick Müllner, Tufan Tavasoli</a:t>
            </a:r>
          </a:p>
          <a:p>
            <a:r>
              <a:rPr lang="en-US"/>
              <a:t>Dimitri Khodak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5815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=&gt; Scrum</a:t>
            </a:r>
          </a:p>
          <a:p>
            <a:pPr lvl="1"/>
            <a:r>
              <a:rPr lang="de-DE"/>
              <a:t>Scrummaster: Tufan T.</a:t>
            </a:r>
          </a:p>
          <a:p>
            <a:pPr lvl="1"/>
            <a:r>
              <a:rPr lang="de-DE"/>
              <a:t>Scrumdeveloper: Janina H., Patrick M., Tufan T., Dimitri K.</a:t>
            </a:r>
          </a:p>
          <a:p>
            <a:pPr lvl="1"/>
            <a:endParaRPr lang="de-DE"/>
          </a:p>
          <a:p>
            <a:pPr marL="0" lvl="1" indent="0">
              <a:buNone/>
            </a:pPr>
            <a:r>
              <a:rPr lang="de-DE"/>
              <a:t>   =&gt; Entwicklungsmodell: Dreischichtenmodel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organisa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4D316-F60F-4C34-9387-52CEF0511815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156176" y="4665238"/>
            <a:ext cx="1965930" cy="282775"/>
          </a:xfrm>
        </p:spPr>
        <p:txBody>
          <a:bodyPr/>
          <a:lstStyle/>
          <a:p>
            <a:r>
              <a:rPr lang="en-US"/>
              <a:t>Janina Hosch, Patrick Müllner, Tufan Tavasoli, Dimitri Khodak </a:t>
            </a:r>
          </a:p>
          <a:p>
            <a:r>
              <a:rPr lang="en-US"/>
              <a:t>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51041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7" y="699542"/>
            <a:ext cx="2304505" cy="359866"/>
          </a:xfrm>
        </p:spPr>
        <p:txBody>
          <a:bodyPr/>
          <a:lstStyle/>
          <a:p>
            <a:pPr marL="0" indent="0">
              <a:buNone/>
            </a:pPr>
            <a:r>
              <a:rPr lang="de-DE"/>
              <a:t>UML-Klassendiagramm: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396329"/>
          </a:xfrm>
        </p:spPr>
        <p:txBody>
          <a:bodyPr/>
          <a:lstStyle/>
          <a:p>
            <a:r>
              <a:rPr lang="de-DE"/>
              <a:t>Objektorientierte Analyse/ Desig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BA617-B4A1-4929-916C-01B9621C0ACD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anina Hosch, Patrick Müllner, Tufan Tavasoli, Dimitri Khodak © Continental AG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98AB5C7-84FE-4F21-8B6A-BEF848993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824" y="699542"/>
            <a:ext cx="3616364" cy="354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15161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bjektorientierte Analyse/ Desig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BA617-B4A1-4929-916C-01B9621C0ACD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anina Hosch, Patrick Müllner, Tufan Tavasoli, Dimitri Khodak © Continental AG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BBC3B65-04E0-4F6D-871D-BF72FC6E7A6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639251" y="699542"/>
            <a:ext cx="5929318" cy="3564359"/>
          </a:xfrm>
          <a:prstGeom prst="rect">
            <a:avLst/>
          </a:prstGeom>
        </p:spPr>
      </p:pic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3B214AB5-A7B8-4C87-AFC5-013D00A043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699542"/>
            <a:ext cx="2520529" cy="359866"/>
          </a:xfrm>
        </p:spPr>
        <p:txBody>
          <a:bodyPr/>
          <a:lstStyle/>
          <a:p>
            <a:pPr marL="0" indent="0">
              <a:buNone/>
            </a:pPr>
            <a:r>
              <a:rPr lang="de-DE"/>
              <a:t>UML-Sequenzdiagramm:</a:t>
            </a:r>
          </a:p>
        </p:txBody>
      </p:sp>
    </p:spTree>
    <p:extLst>
      <p:ext uri="{BB962C8B-B14F-4D97-AF65-F5344CB8AC3E}">
        <p14:creationId xmlns:p14="http://schemas.microsoft.com/office/powerpoint/2010/main" val="353777689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7" y="1923678"/>
            <a:ext cx="8353425" cy="540345"/>
          </a:xfrm>
        </p:spPr>
        <p:txBody>
          <a:bodyPr/>
          <a:lstStyle/>
          <a:p>
            <a:pPr algn="ctr"/>
            <a:r>
              <a:rPr lang="de-DE"/>
              <a:t>End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B4B0E-CCDD-4690-9CD0-131EAC057266}" type="datetime1">
              <a:rPr lang="de-DE" noProof="0" smtClean="0"/>
              <a:t>18.12.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anina Hosch, Patrick Müllner, Tufan Tavasoli, Dimitri Khodak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2556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04.12.2019 10:40:09"/>
  <p:tag name="MIO_OBJECTNAME" val="Automotive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</Words>
  <Application>Microsoft Office PowerPoint</Application>
  <PresentationFormat>Bildschirmpräsentation (16:9)</PresentationFormat>
  <Paragraphs>34</Paragraphs>
  <Slides>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Continental AG, 16x9</vt:lpstr>
      <vt:lpstr>Benutzerdefiniertes Design</vt:lpstr>
      <vt:lpstr>Softwareprojekt Graphenanalyse</vt:lpstr>
      <vt:lpstr>Übersicht</vt:lpstr>
      <vt:lpstr>Projektorganisation</vt:lpstr>
      <vt:lpstr>Objektorientierte Analyse/ Design</vt:lpstr>
      <vt:lpstr>Objektorientierte Analyse/ Design</vt:lpstr>
      <vt:lpstr>Ende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vor Kress</dc:creator>
  <cp:lastModifiedBy>Khodak, Dimitri</cp:lastModifiedBy>
  <cp:revision>15</cp:revision>
  <dcterms:created xsi:type="dcterms:W3CDTF">2018-02-15T15:15:31Z</dcterms:created>
  <dcterms:modified xsi:type="dcterms:W3CDTF">2019-12-18T16:49:13Z</dcterms:modified>
</cp:coreProperties>
</file>